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6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75" r:id="rId13"/>
    <p:sldId id="267" r:id="rId14"/>
    <p:sldId id="268" r:id="rId15"/>
    <p:sldId id="270" r:id="rId16"/>
    <p:sldId id="271" r:id="rId17"/>
    <p:sldId id="272" r:id="rId18"/>
    <p:sldId id="273" r:id="rId19"/>
    <p:sldId id="274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F6EE0E-531E-4F99-AA74-AF12989E17AF}" type="datetimeFigureOut">
              <a:rPr lang="de-DE" smtClean="0"/>
              <a:t>16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12A4B-3AF2-429B-81D5-D9616C461D8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619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4.jpeg"/><Relationship Id="rId4" Type="http://schemas.openxmlformats.org/officeDocument/2006/relationships/tags" Target="../tags/tag20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9258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6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96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3738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5030E7-ACEB-4BEB-BB5D-257DF0322A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9301" y="6110763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0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42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331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815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91653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757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9208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163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7575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661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555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995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44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7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412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054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89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284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zentrales Log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tional</a:t>
            </a: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34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24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9F1C05-1FAF-455A-B570-B2C977938A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8" y="4932578"/>
            <a:ext cx="10748433" cy="358560"/>
          </a:xfrm>
        </p:spPr>
        <p:txBody>
          <a:bodyPr/>
          <a:lstStyle/>
          <a:p>
            <a:r>
              <a:rPr lang="de-DE" dirty="0"/>
              <a:t>REST – Übung 3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087EAF7-BC74-4B08-89C7-880C9BEFBB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8" y="5686397"/>
            <a:ext cx="10748433" cy="252441"/>
          </a:xfrm>
        </p:spPr>
        <p:txBody>
          <a:bodyPr/>
          <a:lstStyle/>
          <a:p>
            <a:r>
              <a:rPr lang="de-DE" dirty="0"/>
              <a:t>Implementierung einer REST-Schnittstelle </a:t>
            </a:r>
          </a:p>
        </p:txBody>
      </p:sp>
    </p:spTree>
    <p:extLst>
      <p:ext uri="{BB962C8B-B14F-4D97-AF65-F5344CB8AC3E}">
        <p14:creationId xmlns:p14="http://schemas.microsoft.com/office/powerpoint/2010/main" val="398735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B8E4E-879B-49F5-8A38-3246F4E49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1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739E72-CE72-4BDA-B3C0-934DC012C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DF0FA7-6AF9-47C6-A7E6-214049F400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11B3E9F9-142F-49DF-B775-FAEDA0ADA3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2281"/>
            <a:ext cx="6306430" cy="3496163"/>
          </a:xfrm>
        </p:spPr>
      </p:pic>
    </p:spTree>
    <p:extLst>
      <p:ext uri="{BB962C8B-B14F-4D97-AF65-F5344CB8AC3E}">
        <p14:creationId xmlns:p14="http://schemas.microsoft.com/office/powerpoint/2010/main" val="888939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3BC2C1-D168-49D2-9808-C41290EA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34D62-9445-4942-BE32-EA53756136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69" y="2679492"/>
            <a:ext cx="10745700" cy="29817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ED674F-7B5A-4543-B320-EAE6061C47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6BDDDD-1D58-4475-96D1-584F9FAC8B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810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AB4B7E-738C-42AF-81BF-32B94EC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E31237C-1628-4494-A58B-2A7A9FC548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258170"/>
            <a:ext cx="8200387" cy="395569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B4C886-B558-42E2-8DC4-BB344DA9D3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91785-C963-4304-A8E3-D865512FB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953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CC0BB-716C-4E88-BB2D-087020542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7D6E3A5-FFC6-4019-BEB5-3FB75C3695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54" y="2297927"/>
            <a:ext cx="9298715" cy="386753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826A53-C33F-4036-B795-24F019E40C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FC0873-6B87-4099-B3F5-2AC17E603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0675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9E927A-7BA9-4C8F-8D45-11648C4E3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135D9D1-16F6-4448-9020-64926E9D19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85391"/>
            <a:ext cx="8594190" cy="369329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1DA5F3-A193-42D6-BE32-4D9D05E807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C0DF22-FCD1-4627-BDEB-D37210A4FF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3282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96058C-B429-4811-9D91-77EB82A77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13954"/>
            <a:ext cx="10748433" cy="384721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9FFA983-932C-4EB7-BEDA-79F7B46A79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242268"/>
            <a:ext cx="7723980" cy="403950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B0DC88-7E68-403A-9BF2-1808944246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A2E64C-4339-497C-B3EC-11A8380647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600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9D78B6-C93D-4494-9B6E-7852990DA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20447C4-786F-4931-B937-5854836874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9732"/>
            <a:ext cx="9299179" cy="384585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A94D88-FB26-4708-8A69-15246405BC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BB02D2-CCA4-4773-8DD5-B115C50E60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92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F2B603-58F7-41CE-B6FC-6AFE0F6E7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4)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00D5AA7D-1108-4046-802D-EE10AD9F80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5148"/>
            <a:ext cx="10356519" cy="344883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2327E8-579D-403E-8FD0-B5BEB6FBA9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EEAB82-A8F1-4574-8169-37E7752A2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94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C7006F-3E40-4FEB-85F5-6BDA12F3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5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97898FE-39A3-4645-98D2-EFE2F32DB2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512611"/>
            <a:ext cx="9408300" cy="361711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8F3908-3826-4528-BF3E-F55DE3A637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088139-E461-42F3-A1F9-FC3856A5E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99646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1DDD93-9C61-4E47-9C8D-C3DFD32D8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positori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586012-5A94-4081-A35B-3309C99D1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Repository</a:t>
            </a:r>
            <a:r>
              <a:rPr lang="de-DE" dirty="0"/>
              <a:t>:	 Bietet Methoden zur Rückgabe aller Smartmeter oder eines spezifischen Smartmeters an.</a:t>
            </a:r>
          </a:p>
          <a:p>
            <a:endParaRPr lang="de-DE" dirty="0"/>
          </a:p>
          <a:p>
            <a:r>
              <a:rPr lang="de-DE" dirty="0" err="1"/>
              <a:t>MeasurandRepository</a:t>
            </a:r>
            <a:r>
              <a:rPr lang="de-DE" dirty="0"/>
              <a:t>:	 Bietet Methoden an um alle </a:t>
            </a:r>
            <a:r>
              <a:rPr lang="de-DE" dirty="0" err="1"/>
              <a:t>Measurands</a:t>
            </a:r>
            <a:r>
              <a:rPr lang="de-DE" dirty="0"/>
              <a:t>, einen bestimmten </a:t>
            </a:r>
            <a:r>
              <a:rPr lang="de-DE" dirty="0" err="1"/>
              <a:t>Measurand</a:t>
            </a:r>
            <a:r>
              <a:rPr lang="de-DE" dirty="0"/>
              <a:t>, oder alle einem spezifischen 			 Smartmeter zugeordneten </a:t>
            </a:r>
            <a:r>
              <a:rPr lang="de-DE" dirty="0" err="1"/>
              <a:t>Measurands</a:t>
            </a:r>
            <a:r>
              <a:rPr lang="de-DE" dirty="0"/>
              <a:t> zurückzugeben.	 </a:t>
            </a:r>
          </a:p>
          <a:p>
            <a:endParaRPr lang="de-DE" dirty="0"/>
          </a:p>
          <a:p>
            <a:r>
              <a:rPr lang="de-DE" dirty="0" err="1"/>
              <a:t>RecordRepository</a:t>
            </a:r>
            <a:r>
              <a:rPr lang="de-DE" dirty="0"/>
              <a:t>:	 Bietet Methoden an um alle Records oder alle einem spezifischen Smartmeter zugeordneten Records 			 zurückzugeb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08BC14-2B8A-447B-9A25-0670134637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DF4693-8FF8-408F-A152-C4CBEF141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81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3751" y="1713954"/>
            <a:ext cx="8061325" cy="384721"/>
          </a:xfrm>
        </p:spPr>
        <p:txBody>
          <a:bodyPr/>
          <a:lstStyle/>
          <a:p>
            <a:r>
              <a:rPr lang="de-DE" dirty="0"/>
              <a:t>Group 46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63750" y="3002380"/>
            <a:ext cx="9597027" cy="370798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Fedor </a:t>
            </a:r>
            <a:r>
              <a:rPr lang="de-DE" sz="1800" dirty="0" err="1"/>
              <a:t>Vitkovskiy</a:t>
            </a:r>
            <a:r>
              <a:rPr lang="de-DE" sz="1800" dirty="0"/>
              <a:t>,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obert Koch, 38647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Jia Fug Liu, 38233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solidFill>
                  <a:srgbClr val="717171"/>
                </a:solidFill>
                <a:latin typeface="Arial" panose="020B0604020202020204" pitchFamily="34" charset="0"/>
              </a:rPr>
              <a:t>REST</a:t>
            </a:r>
            <a:r>
              <a:rPr kumimoji="0" lang="de-DE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- Übung 3 | Anwendungssysteme SS 2017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2063750" y="6557963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ite </a:t>
            </a:r>
            <a:fld id="{E0A14075-C09F-4ACA-9F88-F92C04193218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F5B04-9E08-491D-AF0F-7DC3F889A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24EBF8E4-52EB-45A2-B9C4-F26C5F5DF7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354264"/>
            <a:ext cx="7468642" cy="176237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88D0B-9CE3-44C7-B453-7A9D91CF83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5DE9A1-9626-46A8-99C4-AFC1D794BD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03537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54CB3E-6B11-4C4C-ACAD-FF2B1BB92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6557D7C-343F-492D-8370-13B1847F9A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154234"/>
            <a:ext cx="7268589" cy="204816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42E4A-1927-4533-A8EE-ECB1B8CB6E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AB45B1-3458-4E83-AF16-46DCC92C33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71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D811F0-55B3-4DD6-883B-B8011BEB2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A00F1FD4-C4A7-4A20-A966-0FD0C40746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492396"/>
            <a:ext cx="6773220" cy="148610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D2FB3A-8650-478D-8A33-8F51957C72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B160B3-4C45-435A-9890-A810BC20D3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496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5E5C5F-BE12-4123-8C8D-2BBAF4160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BA5A7B-96B4-4FFD-AB38-8E3F0446B2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rstellt Smartmeter und </a:t>
            </a:r>
            <a:r>
              <a:rPr lang="de-DE" dirty="0" err="1"/>
              <a:t>Measurands</a:t>
            </a:r>
            <a:r>
              <a:rPr lang="de-DE" dirty="0"/>
              <a:t> und nimmt die Testmessungen vor.</a:t>
            </a:r>
          </a:p>
          <a:p>
            <a:endParaRPr lang="de-DE" dirty="0"/>
          </a:p>
          <a:p>
            <a:r>
              <a:rPr lang="de-DE" dirty="0" err="1"/>
              <a:t>SMEmu</a:t>
            </a:r>
            <a:r>
              <a:rPr lang="de-DE" dirty="0"/>
              <a:t> </a:t>
            </a:r>
            <a:r>
              <a:rPr lang="de-DE" dirty="0" err="1"/>
              <a:t>Restful</a:t>
            </a:r>
            <a:r>
              <a:rPr lang="de-DE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044502-8F0E-42A4-BD5F-EFB2C69022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E04A7A-D7BF-4649-827D-234F1E26AD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7260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2D2F2D-79E2-4614-8DA1-7B8F58472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0DCAB75-BE1A-47CF-A29C-14586EFDDB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35106"/>
            <a:ext cx="10469436" cy="260068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69892A-2D50-43E1-AC07-D1F87F2D0A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640845-FD7C-4FF3-A7E5-05E46A0BC8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071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15531B-959E-4579-93DB-F9C2F06F7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57CFCBE-8B18-4F60-8A35-9C3927B121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33598"/>
            <a:ext cx="9409241" cy="364172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28068B-E7EC-4DC9-B81D-32F491D4B3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429FA3-8E3F-418F-8E01-44021D31EF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2382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DCF9C2-F935-4D25-BA84-F1CA05086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96905AD-6D96-4CF5-A8DC-C2052483C7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96895"/>
            <a:ext cx="10317015" cy="347711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2D3DA9-FB0A-4D70-97E1-1CF3A7856D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4AA628-1516-40C1-B68F-836BD1F84B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9688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D1AF53-7F80-4940-8D05-3758C5E93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tromstärke Smartmeter mit ID=…2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576D74FF-DDE9-4382-A84C-16FBE2201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763690"/>
            <a:ext cx="9251482" cy="27815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AD6E36A-B94E-4394-8ABD-0CE7F7EEF7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4CADDD-B1D7-4732-889D-D03E4274F7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2080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0890B3-B4C1-425A-8D4D-1B283DE83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04D9697-DC06-42D1-9B81-0F51DA8256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886593"/>
            <a:ext cx="9205758" cy="269771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DC7AE0F-244B-40C0-9580-6C688EF055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C7FCB2-B615-41D9-BBD8-450BAD320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13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AF7183-6CAC-42ED-864D-C420E4433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D7C2AF-A423-46FF-AA46-86746CDC59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308DF7-DDE6-40DE-885C-2796886AA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9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83E3B328-D69D-431F-88A2-F1FCB03051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97092"/>
            <a:ext cx="9213378" cy="2476715"/>
          </a:xfrm>
        </p:spPr>
      </p:pic>
    </p:spTree>
    <p:extLst>
      <p:ext uri="{BB962C8B-B14F-4D97-AF65-F5344CB8AC3E}">
        <p14:creationId xmlns:p14="http://schemas.microsoft.com/office/powerpoint/2010/main" val="178633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B108F7-01C1-4D29-B46B-A15C5181E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AC539D-25A3-4F0F-82AC-A9119832E3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ST-Schnittstellenbeschreibung und –Implementierung</a:t>
            </a:r>
          </a:p>
          <a:p>
            <a:r>
              <a:rPr lang="de-DE" dirty="0"/>
              <a:t>	-Beschreibung der Schnittstelle</a:t>
            </a:r>
          </a:p>
          <a:p>
            <a:r>
              <a:rPr lang="de-DE" dirty="0"/>
              <a:t>	-Models</a:t>
            </a:r>
          </a:p>
          <a:p>
            <a:r>
              <a:rPr lang="de-DE" dirty="0"/>
              <a:t>	-Controllers</a:t>
            </a:r>
          </a:p>
          <a:p>
            <a:r>
              <a:rPr lang="de-DE" dirty="0"/>
              <a:t>	-</a:t>
            </a:r>
            <a:r>
              <a:rPr lang="de-DE" dirty="0" err="1"/>
              <a:t>Repositories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r>
              <a:rPr lang="de-DE" dirty="0"/>
              <a:t>Client</a:t>
            </a:r>
          </a:p>
          <a:p>
            <a:r>
              <a:rPr lang="de-DE" dirty="0"/>
              <a:t>	-Beschreibung und Schnittstelle </a:t>
            </a:r>
            <a:r>
              <a:rPr lang="de-DE" dirty="0" err="1"/>
              <a:t>SMEmu</a:t>
            </a:r>
            <a:endParaRPr lang="de-DE" dirty="0"/>
          </a:p>
          <a:p>
            <a:r>
              <a:rPr lang="de-DE" dirty="0"/>
              <a:t>	-Implementierung</a:t>
            </a:r>
          </a:p>
          <a:p>
            <a:r>
              <a:rPr lang="de-DE" dirty="0"/>
              <a:t>	-Berechnung der Stromstärke für Smartmeter mit ID=…2</a:t>
            </a:r>
          </a:p>
          <a:p>
            <a:r>
              <a:rPr lang="de-DE" dirty="0"/>
              <a:t>	-Screenshot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E58F98-C003-499E-A52C-4A2AB2D0E3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633D64-9186-4022-9026-CB0368EB23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2977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795F38-0EF2-41A8-9480-8D189B1AE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9BE59A-F49D-40CA-BA67-A4F61F363F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679152-02FD-427E-992B-166AADEBB2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3C002B15-2CD3-4B80-BC40-01A6AA982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610284"/>
            <a:ext cx="9190516" cy="3040643"/>
          </a:xfrm>
        </p:spPr>
      </p:pic>
    </p:spTree>
    <p:extLst>
      <p:ext uri="{BB962C8B-B14F-4D97-AF65-F5344CB8AC3E}">
        <p14:creationId xmlns:p14="http://schemas.microsoft.com/office/powerpoint/2010/main" val="3878945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6AB644-20CA-4B97-9B6F-DA8242A59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REST-Schnittstellenbeschreib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82B3E-2053-43CC-8761-EEB4618B2C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65976D-F4B0-45C0-BF47-E66CFEDE5C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8F37CB-FD3C-4730-BE14-DCF6945A7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4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C06D821-0A3A-466C-A5B1-611F9CC79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6B115E4-57E1-499A-B4DE-B89473C77C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47275"/>
            <a:ext cx="10813774" cy="190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549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7580AC-3617-47AD-A746-D2AB84D95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9C282F-16B4-4C29-BC7C-FE6D5BE18F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martmeter:	Repräsentiert ein Smartmeter. Verfügt über eine Liste von Messgrößen (</a:t>
            </a:r>
            <a:r>
              <a:rPr lang="de-DE" dirty="0" err="1"/>
              <a:t>Measurands</a:t>
            </a:r>
            <a:r>
              <a:rPr lang="de-DE" dirty="0"/>
              <a:t>) und von Ablesungen 		(Records). 	Ein Smartmeter steht in einer Many-</a:t>
            </a:r>
            <a:r>
              <a:rPr lang="de-DE" dirty="0" err="1"/>
              <a:t>to</a:t>
            </a:r>
            <a:r>
              <a:rPr lang="de-DE" dirty="0"/>
              <a:t>-Many Beziehung zu den </a:t>
            </a:r>
            <a:r>
              <a:rPr lang="de-DE" dirty="0" err="1"/>
              <a:t>Measurands</a:t>
            </a:r>
            <a:r>
              <a:rPr lang="de-DE" dirty="0"/>
              <a:t> und in einer </a:t>
            </a:r>
            <a:r>
              <a:rPr lang="de-DE" dirty="0" err="1"/>
              <a:t>One-to</a:t>
            </a:r>
            <a:r>
              <a:rPr lang="de-DE" dirty="0"/>
              <a:t>-		Many Beziehung zu den Records.</a:t>
            </a:r>
          </a:p>
          <a:p>
            <a:endParaRPr lang="de-DE" dirty="0"/>
          </a:p>
          <a:p>
            <a:r>
              <a:rPr lang="de-DE" dirty="0" err="1"/>
              <a:t>Measurand</a:t>
            </a:r>
            <a:r>
              <a:rPr lang="de-DE" dirty="0"/>
              <a:t>:	Repräsentiert eine Messgröße. Verfügt über eine Liste von Smartmeters und steht zu diesen in einer Many-</a:t>
            </a:r>
            <a:r>
              <a:rPr lang="de-DE" dirty="0" err="1"/>
              <a:t>to</a:t>
            </a:r>
            <a:r>
              <a:rPr lang="de-DE" dirty="0"/>
              <a:t>-		Many Beziehung.</a:t>
            </a:r>
          </a:p>
          <a:p>
            <a:endParaRPr lang="de-DE" dirty="0"/>
          </a:p>
          <a:p>
            <a:r>
              <a:rPr lang="de-DE" dirty="0" err="1"/>
              <a:t>Record</a:t>
            </a:r>
            <a:r>
              <a:rPr lang="de-DE" dirty="0"/>
              <a:t>:		Repräsentiert eine Ablesung. Steht in einer Many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One</a:t>
            </a:r>
            <a:r>
              <a:rPr lang="de-DE" dirty="0"/>
              <a:t> Beziehung sowohl zu den Smartmeters als auch zu den 		</a:t>
            </a:r>
            <a:r>
              <a:rPr lang="de-DE" dirty="0" err="1"/>
              <a:t>Measurands</a:t>
            </a:r>
            <a:r>
              <a:rPr lang="de-DE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396A62-F9BF-4B84-AB49-D7ADADA5A7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FC0247-B729-4318-A819-7018ED4297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9079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D338EB-A9CC-481E-AF71-0ADB61FF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martmeter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42499286-269C-4A3A-B0AA-7DF3B320F4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132013"/>
            <a:ext cx="4854642" cy="403709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120525-E24E-4374-9047-34E4E523E4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70911-7DF1-47D6-AE85-9E8238B3CF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026B9-B63E-4D72-87C7-D2FB26E4B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442" y="2657831"/>
            <a:ext cx="4153767" cy="351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98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1DAC5E-ED15-49CB-8742-591E0C40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3A811-FE40-4216-A305-8C0B904D96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7E452E-86DF-4067-9598-CE766B65D3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7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007F3375-757F-4AEA-BFCB-CAF3085287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1718"/>
            <a:ext cx="5794853" cy="3938985"/>
          </a:xfr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047E088-714F-40B8-A604-1BE568B82F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903" y="2008963"/>
            <a:ext cx="4158534" cy="425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80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89C741-4BFF-43D6-BF9B-03E5A9871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4B397C-829D-444E-B19D-4B842D66F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60EDA7-56F9-43C6-AFC7-FD0AD9290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8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A716EC-FE55-42F4-B62B-1BB9D185B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821" y="1351722"/>
            <a:ext cx="3394952" cy="4924618"/>
          </a:xfrm>
          <a:prstGeom prst="rect">
            <a:avLst/>
          </a:prstGeom>
        </p:spPr>
      </p:pic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7019EC61-4042-4725-93A7-0E663E5366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098675"/>
            <a:ext cx="5843035" cy="4177664"/>
          </a:xfrm>
        </p:spPr>
      </p:pic>
    </p:spTree>
    <p:extLst>
      <p:ext uri="{BB962C8B-B14F-4D97-AF65-F5344CB8AC3E}">
        <p14:creationId xmlns:p14="http://schemas.microsoft.com/office/powerpoint/2010/main" val="2497309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3B468C-232B-4A8E-A780-40C72652F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roll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8F9C5A-74EE-497A-8872-916529B53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") zur Ausgabe einer Liste aller Smartmeter an und eine POST-			Methode("/</a:t>
            </a:r>
            <a:r>
              <a:rPr lang="de-DE" dirty="0" err="1"/>
              <a:t>smartmeter</a:t>
            </a:r>
            <a:r>
              <a:rPr lang="de-DE" dirty="0"/>
              <a:t>"), um neue Smartmeter zu erstellen.</a:t>
            </a:r>
          </a:p>
          <a:p>
            <a:endParaRPr lang="de-DE" dirty="0"/>
          </a:p>
          <a:p>
            <a:r>
              <a:rPr lang="de-DE" dirty="0" err="1"/>
              <a:t>Measuran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 zur Ausgabe einer </a:t>
            </a:r>
            <a:r>
              <a:rPr lang="de-DE" dirty="0" err="1"/>
              <a:t>Map</a:t>
            </a:r>
            <a:r>
              <a:rPr lang="de-DE" dirty="0"/>
              <a:t> an, die die </a:t>
            </a:r>
            <a:r>
              <a:rPr lang="de-DE" dirty="0" err="1"/>
              <a:t>Zuordung</a:t>
            </a:r>
            <a:r>
              <a:rPr lang="de-DE" dirty="0"/>
              <a:t> von 			</a:t>
            </a:r>
            <a:r>
              <a:rPr lang="de-DE" dirty="0" err="1"/>
              <a:t>Measurands</a:t>
            </a:r>
            <a:r>
              <a:rPr lang="de-DE" dirty="0"/>
              <a:t> zu Smartmetern angibt und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, die neue </a:t>
            </a:r>
            <a:r>
              <a:rPr lang="de-DE" dirty="0" err="1"/>
              <a:t>Measurands</a:t>
            </a:r>
            <a:r>
              <a:rPr lang="de-DE" dirty="0"/>
              <a:t> 		erstellt oder zu einem Smartmeter hinzufügt.	</a:t>
            </a:r>
          </a:p>
          <a:p>
            <a:endParaRPr lang="de-DE" dirty="0"/>
          </a:p>
          <a:p>
            <a:r>
              <a:rPr lang="de-DE" dirty="0" err="1"/>
              <a:t>Recor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 ) an, die eine </a:t>
            </a:r>
            <a:r>
              <a:rPr lang="de-DE" dirty="0" err="1"/>
              <a:t>Map</a:t>
            </a:r>
            <a:r>
              <a:rPr lang="de-DE" dirty="0"/>
              <a:t> zurückgibt, welche die Records 		eines Smartmeters nach Zeit gruppiert zurückgibt. </a:t>
            </a:r>
          </a:p>
          <a:p>
            <a:r>
              <a:rPr lang="de-DE" dirty="0"/>
              <a:t>			Zudem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), welche neue Records erstellt.</a:t>
            </a:r>
          </a:p>
          <a:p>
            <a:r>
              <a:rPr lang="de-DE" dirty="0"/>
              <a:t>			Eine weiter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/{</a:t>
            </a:r>
            <a:r>
              <a:rPr lang="de-DE" dirty="0" err="1"/>
              <a:t>metric</a:t>
            </a:r>
            <a:r>
              <a:rPr lang="de-DE" dirty="0"/>
              <a:t>}") gibt eine </a:t>
            </a:r>
            <a:r>
              <a:rPr lang="de-DE" dirty="0" err="1"/>
              <a:t>Map</a:t>
            </a:r>
            <a:r>
              <a:rPr lang="de-DE" dirty="0"/>
              <a:t> der Records eines 			Smartmeters für einen bestimmten </a:t>
            </a:r>
            <a:r>
              <a:rPr lang="de-DE" dirty="0" err="1"/>
              <a:t>Measurand</a:t>
            </a:r>
            <a:r>
              <a:rPr lang="de-DE" dirty="0"/>
              <a:t> gruppiert nach Zeit zurück. 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 	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11EA1F-1BEF-46E3-A60B-B5EB6B4865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937516-D158-4928-8968-3DFF014C0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329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2.xml><?xml version="1.0" encoding="utf-8"?>
<a:theme xmlns:a="http://schemas.openxmlformats.org/drawingml/2006/main" name="1_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93</Words>
  <Application>Microsoft Office PowerPoint</Application>
  <PresentationFormat>Breitbild</PresentationFormat>
  <Paragraphs>130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5" baseType="lpstr">
      <vt:lpstr>Arial</vt:lpstr>
      <vt:lpstr>Calibri</vt:lpstr>
      <vt:lpstr>TUDesign</vt:lpstr>
      <vt:lpstr>1_TUDesign</vt:lpstr>
      <vt:lpstr>TCLayout.ActiveDocument.1</vt:lpstr>
      <vt:lpstr>REST – Übung 3</vt:lpstr>
      <vt:lpstr>Group 46</vt:lpstr>
      <vt:lpstr>Content</vt:lpstr>
      <vt:lpstr>REST-Schnittstellenbeschreibung</vt:lpstr>
      <vt:lpstr>Models</vt:lpstr>
      <vt:lpstr>Smartmeter</vt:lpstr>
      <vt:lpstr>Measurand</vt:lpstr>
      <vt:lpstr>Record</vt:lpstr>
      <vt:lpstr>Controllers</vt:lpstr>
      <vt:lpstr>SmartmeterController(1)</vt:lpstr>
      <vt:lpstr>SmartmeterController(2)</vt:lpstr>
      <vt:lpstr>MeasurandController(1)</vt:lpstr>
      <vt:lpstr>MeasurandController(2)</vt:lpstr>
      <vt:lpstr>RecordController(1)</vt:lpstr>
      <vt:lpstr>RecordController(2)</vt:lpstr>
      <vt:lpstr>RecordController(3)</vt:lpstr>
      <vt:lpstr>RecordController(4)</vt:lpstr>
      <vt:lpstr>RecordController(5)</vt:lpstr>
      <vt:lpstr>Repositories</vt:lpstr>
      <vt:lpstr>SmartmeterRepository</vt:lpstr>
      <vt:lpstr>MeasurandRepository</vt:lpstr>
      <vt:lpstr>RecordRepository</vt:lpstr>
      <vt:lpstr>Client</vt:lpstr>
      <vt:lpstr>Client Implementierung(1)</vt:lpstr>
      <vt:lpstr>Client Implementierung(2)</vt:lpstr>
      <vt:lpstr>Client Implementierung(3)</vt:lpstr>
      <vt:lpstr>Stromstärke Smartmeter mit ID=…2</vt:lpstr>
      <vt:lpstr>/smartmeter</vt:lpstr>
      <vt:lpstr>/smartmeter/{smartmeter}</vt:lpstr>
      <vt:lpstr>/smartmeter/{smartmeter}/recor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 – Übung 3</dc:title>
  <dc:creator>Bratwurst</dc:creator>
  <cp:lastModifiedBy>Bratwurst</cp:lastModifiedBy>
  <cp:revision>38</cp:revision>
  <dcterms:created xsi:type="dcterms:W3CDTF">2017-07-16T10:00:12Z</dcterms:created>
  <dcterms:modified xsi:type="dcterms:W3CDTF">2017-07-16T13:17:57Z</dcterms:modified>
</cp:coreProperties>
</file>